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charts/chart5.xml" ContentType="application/vnd.openxmlformats-officedocument.drawingml.chart+xml"/>
  <Override PartName="/ppt/tags/tag34.xml" ContentType="application/vnd.openxmlformats-officedocument.presentationml.tags+xml"/>
  <Override PartName="/ppt/charts/chart6.xml" ContentType="application/vnd.openxmlformats-officedocument.drawingml.chart+xml"/>
  <Override PartName="/ppt/tags/tag35.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13"/>
  </p:notesMasterIdLst>
  <p:sldIdLst>
    <p:sldId id="2147475135" r:id="rId5"/>
    <p:sldId id="2147475163" r:id="rId6"/>
    <p:sldId id="2147475116" r:id="rId7"/>
    <p:sldId id="2147475137" r:id="rId8"/>
    <p:sldId id="2147475138" r:id="rId9"/>
    <p:sldId id="2147475139" r:id="rId10"/>
    <p:sldId id="2147475140" r:id="rId11"/>
    <p:sldId id="2147475168" r:id="rId1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26EFF1-A239-452E-8245-DB8E6373D8EF}" v="3" dt="2024-11-01T08:43:25.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85" d="100"/>
          <a:sy n="85" d="100"/>
        </p:scale>
        <p:origin x="966" y="84"/>
      </p:cViewPr>
      <p:guideLst>
        <p:guide orient="horz" pos="917"/>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AC26EFF1-A239-452E-8245-DB8E6373D8EF}"/>
    <pc:docChg chg="undo custSel modSld addMainMaster delMainMaster modMainMaster">
      <pc:chgData name="Neriman EL HADIDI" userId="4b24840c-84b3-44ac-9131-ca3568cb403b" providerId="ADAL" clId="{AC26EFF1-A239-452E-8245-DB8E6373D8EF}" dt="2024-11-01T08:43:25.104" v="4"/>
      <pc:docMkLst>
        <pc:docMk/>
      </pc:docMkLst>
      <pc:sldChg chg="modSp">
        <pc:chgData name="Neriman EL HADIDI" userId="4b24840c-84b3-44ac-9131-ca3568cb403b" providerId="ADAL" clId="{AC26EFF1-A239-452E-8245-DB8E6373D8EF}" dt="2024-11-01T08:43:25.104" v="4"/>
        <pc:sldMkLst>
          <pc:docMk/>
          <pc:sldMk cId="2010026569" sldId="2147475116"/>
        </pc:sldMkLst>
        <pc:graphicFrameChg chg="mod">
          <ac:chgData name="Neriman EL HADIDI" userId="4b24840c-84b3-44ac-9131-ca3568cb403b" providerId="ADAL" clId="{AC26EFF1-A239-452E-8245-DB8E6373D8EF}" dt="2024-11-01T08:43:25.104" v="4"/>
          <ac:graphicFrameMkLst>
            <pc:docMk/>
            <pc:sldMk cId="2010026569" sldId="2147475116"/>
            <ac:graphicFrameMk id="13" creationId="{0FD720B3-3C7D-426F-B391-AFCECEB9BE0C}"/>
          </ac:graphicFrameMkLst>
        </pc:graphicFrameChg>
      </pc:sldChg>
      <pc:sldMasterChg chg="del">
        <pc:chgData name="Neriman EL HADIDI" userId="4b24840c-84b3-44ac-9131-ca3568cb403b" providerId="ADAL" clId="{AC26EFF1-A239-452E-8245-DB8E6373D8EF}" dt="2024-11-01T08:42:51.844" v="0" actId="2696"/>
        <pc:sldMasterMkLst>
          <pc:docMk/>
          <pc:sldMasterMk cId="823099819" sldId="2147483792"/>
        </pc:sldMasterMkLst>
      </pc:sldMasterChg>
      <pc:sldMasterChg chg="modSp new del mod addSldLayout delSldLayout">
        <pc:chgData name="Neriman EL HADIDI" userId="4b24840c-84b3-44ac-9131-ca3568cb403b" providerId="ADAL" clId="{AC26EFF1-A239-452E-8245-DB8E6373D8EF}" dt="2024-11-01T08:43:00.893" v="3" actId="6938"/>
        <pc:sldMasterMkLst>
          <pc:docMk/>
          <pc:sldMasterMk cId="1973025651" sldId="2147483905"/>
        </pc:sldMasterMkLst>
        <pc:sldLayoutChg chg="new del replId">
          <pc:chgData name="Neriman EL HADIDI" userId="4b24840c-84b3-44ac-9131-ca3568cb403b" providerId="ADAL" clId="{AC26EFF1-A239-452E-8245-DB8E6373D8EF}" dt="2024-11-01T08:43:00.893" v="3" actId="6938"/>
          <pc:sldLayoutMkLst>
            <pc:docMk/>
            <pc:sldMasterMk cId="1973025651" sldId="2147483905"/>
            <pc:sldLayoutMk cId="2938457443" sldId="2147483906"/>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9623562" sldId="2147483907"/>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1087223447" sldId="2147483908"/>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1432085581" sldId="2147483909"/>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725795051" sldId="2147483910"/>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94219938" sldId="2147483911"/>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650394137" sldId="2147483912"/>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141054726" sldId="2147483913"/>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32231769" sldId="2147483914"/>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3283424540" sldId="2147483915"/>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4049326179" sldId="2147483916"/>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B$2:$B$61</c:f>
              <c:numCache>
                <c:formatCode>General</c:formatCode>
                <c:ptCount val="6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C$2:$C$61</c:f>
              <c:numCache>
                <c:formatCode>General</c:formatCode>
                <c:ptCount val="6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Product Sales Rate</c:v>
                </c:pt>
              </c:strCache>
            </c:strRef>
          </c:tx>
          <c:spPr>
            <a:ln w="28575" cap="rnd">
              <a:solidFill>
                <a:srgbClr val="C00000"/>
              </a:solidFill>
              <a:round/>
            </a:ln>
            <a:effectLst/>
          </c:spPr>
          <c:marker>
            <c:symbol val="none"/>
          </c:marker>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D$2:$D$61</c:f>
              <c:numCache>
                <c:formatCode>General</c:formatCode>
                <c:ptCount val="60"/>
                <c:pt idx="0">
                  <c:v>683311.5809428572</c:v>
                </c:pt>
                <c:pt idx="1">
                  <c:v>667471.06878333329</c:v>
                </c:pt>
                <c:pt idx="2">
                  <c:v>571169.00183582096</c:v>
                </c:pt>
                <c:pt idx="3">
                  <c:v>435944.1802083333</c:v>
                </c:pt>
                <c:pt idx="4">
                  <c:v>472043.47221212118</c:v>
                </c:pt>
                <c:pt idx="5">
                  <c:v>403172.80164179101</c:v>
                </c:pt>
                <c:pt idx="6">
                  <c:v>448102.05012068967</c:v>
                </c:pt>
                <c:pt idx="7">
                  <c:v>444366.27177586209</c:v>
                </c:pt>
                <c:pt idx="8">
                  <c:v>396458.51944615378</c:v>
                </c:pt>
                <c:pt idx="9">
                  <c:v>548293.69710638293</c:v>
                </c:pt>
                <c:pt idx="10">
                  <c:v>390451.57218181819</c:v>
                </c:pt>
                <c:pt idx="11">
                  <c:v>1840700.2688571429</c:v>
                </c:pt>
                <c:pt idx="12">
                  <c:v>1982292.597230769</c:v>
                </c:pt>
                <c:pt idx="13">
                  <c:v>2147483.6469999999</c:v>
                </c:pt>
                <c:pt idx="14">
                  <c:v>2342709.4330909089</c:v>
                </c:pt>
                <c:pt idx="15">
                  <c:v>536870.91174999997</c:v>
                </c:pt>
                <c:pt idx="16">
                  <c:v>402653.18381249998</c:v>
                </c:pt>
                <c:pt idx="17">
                  <c:v>452101.82042105269</c:v>
                </c:pt>
                <c:pt idx="18">
                  <c:v>429496.72940000001</c:v>
                </c:pt>
                <c:pt idx="19">
                  <c:v>548293.69710638293</c:v>
                </c:pt>
                <c:pt idx="20">
                  <c:v>422455.79940983612</c:v>
                </c:pt>
                <c:pt idx="21">
                  <c:v>548293.69710638293</c:v>
                </c:pt>
                <c:pt idx="22">
                  <c:v>378967.70241176471</c:v>
                </c:pt>
                <c:pt idx="23">
                  <c:v>678152.73063157895</c:v>
                </c:pt>
                <c:pt idx="24">
                  <c:v>409044.5041904762</c:v>
                </c:pt>
                <c:pt idx="25">
                  <c:v>468541.88661818177</c:v>
                </c:pt>
                <c:pt idx="26">
                  <c:v>858993.45879999991</c:v>
                </c:pt>
                <c:pt idx="27">
                  <c:v>436776.33498305082</c:v>
                </c:pt>
                <c:pt idx="28">
                  <c:v>5153960.7527999999</c:v>
                </c:pt>
                <c:pt idx="29">
                  <c:v>585677.35827272723</c:v>
                </c:pt>
                <c:pt idx="30">
                  <c:v>460175.06721428572</c:v>
                </c:pt>
                <c:pt idx="31">
                  <c:v>402653.18381249998</c:v>
                </c:pt>
                <c:pt idx="32">
                  <c:v>429496.72940000001</c:v>
                </c:pt>
                <c:pt idx="33">
                  <c:v>401025.09182812501</c:v>
                </c:pt>
                <c:pt idx="34">
                  <c:v>419955.21870491811</c:v>
                </c:pt>
                <c:pt idx="35">
                  <c:v>729266.29637142865</c:v>
                </c:pt>
                <c:pt idx="36">
                  <c:v>3607477.813428571</c:v>
                </c:pt>
                <c:pt idx="37">
                  <c:v>716400.65431428573</c:v>
                </c:pt>
                <c:pt idx="38">
                  <c:v>420247.6646779661</c:v>
                </c:pt>
                <c:pt idx="39">
                  <c:v>411607.98921666661</c:v>
                </c:pt>
                <c:pt idx="40">
                  <c:v>402581.21008196718</c:v>
                </c:pt>
                <c:pt idx="41">
                  <c:v>617566.33256410249</c:v>
                </c:pt>
                <c:pt idx="42">
                  <c:v>572219.83076190471</c:v>
                </c:pt>
                <c:pt idx="43">
                  <c:v>559378.56292857148</c:v>
                </c:pt>
                <c:pt idx="44">
                  <c:v>750845.31183870975</c:v>
                </c:pt>
                <c:pt idx="45">
                  <c:v>426388.42070370371</c:v>
                </c:pt>
                <c:pt idx="46">
                  <c:v>389018.17484745762</c:v>
                </c:pt>
                <c:pt idx="47">
                  <c:v>413968.14421818178</c:v>
                </c:pt>
                <c:pt idx="48">
                  <c:v>516160.78883720929</c:v>
                </c:pt>
                <c:pt idx="49">
                  <c:v>368618.79038333328</c:v>
                </c:pt>
                <c:pt idx="50">
                  <c:v>363980.27913559321</c:v>
                </c:pt>
                <c:pt idx="51">
                  <c:v>335544.31982812501</c:v>
                </c:pt>
                <c:pt idx="52">
                  <c:v>320519.9472985075</c:v>
                </c:pt>
                <c:pt idx="53">
                  <c:v>325376.31013636361</c:v>
                </c:pt>
                <c:pt idx="54">
                  <c:v>363980.27913559321</c:v>
                </c:pt>
                <c:pt idx="55">
                  <c:v>325376.31004545459</c:v>
                </c:pt>
                <c:pt idx="56">
                  <c:v>1522163.081</c:v>
                </c:pt>
                <c:pt idx="57">
                  <c:v>624144.62864705885</c:v>
                </c:pt>
                <c:pt idx="58">
                  <c:v>2339831.1108888891</c:v>
                </c:pt>
                <c:pt idx="59">
                  <c:v>350887.89255932212</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D171D991-5497-456E-971B-FD77C08B6C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BA3FAE1-C03F-4283-9567-F18A5EF79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3EE7D90E-BD99-4ED4-AA06-60E1AF4336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B328FCC7-159E-443B-8FA4-9CA35E5D7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444A345-97D9-4FE4-B606-536AEC41C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5A4A0236-BB85-4A51-9218-0BED567F4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52581C1-D285-4500-893A-D4F979E302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EFF85B0-FA76-48F5-A3A3-DBD04766FFF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D6F0A4A3-857A-49AB-B51C-2BA036FFAB5A}"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0646F00B-B0E4-46E6-95F3-C3206180345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488070AC-6245-448F-98AF-D460DBE4559C}"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2357BBC3-9A90-4FCD-91C2-ADBF71907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08D97715-638D-4FA9-B4DD-B3090DAD0197}"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C9AA53C-9BB1-4BF6-8733-5B891E18C7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971C24D6-B7E1-4AE9-B581-200552493E7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99989F06-C94A-463B-A3AE-DF4BD61FBC90}"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1DEDE330-24E0-45F5-B600-A13D077079E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07/2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7/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7/2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7/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7/2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7/2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7/2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7/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7/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7/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7/27/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20000035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27/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r>
              <a:rPr lang="en-US"/>
              <a:t>Top 50% cumulative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20100265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3677870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a:t>
            </a:fld>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308773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7440465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9889046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7569004E-13CB-4752-B39D-2BEF8CE13196}">
  <ds:schemaRefs>
    <ds:schemaRef ds:uri="http://schemas.microsoft.com/sharepoint/v3/contenttype/forms"/>
  </ds:schemaRefs>
</ds:datastoreItem>
</file>

<file path=customXml/itemProps2.xml><?xml version="1.0" encoding="utf-8"?>
<ds:datastoreItem xmlns:ds="http://schemas.openxmlformats.org/officeDocument/2006/customXml" ds:itemID="{38749DFE-4136-473E-8F3A-DF8981A45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D3B97F3-A04F-4F0C-B39A-C5495F1A7B05}">
  <ds:schemaRefs>
    <ds:schemaRef ds:uri="http://schemas.microsoft.com/office/2006/documentManagement/types"/>
    <ds:schemaRef ds:uri="0ad93b7f-b0cd-4c46-aaaf-ff14495948cf"/>
    <ds:schemaRef ds:uri="http://purl.org/dc/elements/1.1/"/>
    <ds:schemaRef ds:uri="http://www.w3.org/XML/1998/namespace"/>
    <ds:schemaRef ds:uri="http://schemas.microsoft.com/office/2006/metadata/properties"/>
    <ds:schemaRef ds:uri="474cf4e4-8a51-432b-9e1b-0ea607ac38ff"/>
    <ds:schemaRef ds:uri="http://schemas.microsoft.com/office/infopath/2007/PartnerControls"/>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1</TotalTime>
  <Words>860</Words>
  <Application>Microsoft Office PowerPoint</Application>
  <PresentationFormat>On-screen Show (16:9)</PresentationFormat>
  <Paragraphs>281</Paragraphs>
  <Slides>8</Slides>
  <Notes>2</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KU Share By Brand (Replace With SO WHAT)</vt:lpstr>
      <vt:lpstr>Cumulative Product Share (Replace With SO WHAT)</vt:lpstr>
      <vt:lpstr>Top 50% cumulative share (Replace With SO WHAT)</vt:lpstr>
      <vt:lpstr>Brand Cumulative Product Share (Replace With SO WHAT)</vt:lpstr>
      <vt:lpstr>Top 20 cumulative share (Replace With SO WHAT)</vt:lpstr>
      <vt:lpstr>SKU Productivity Analysis with TM% (Replace with So What)</vt:lpstr>
      <vt:lpstr>SKU Productivity Analysis with WD (Replace with So What)</vt:lpstr>
      <vt:lpstr>Sectors Fair Shar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 Share By Brand (Replace With SO WHAT)</dc:title>
  <dc:creator>Sophie  ZIMMERMANN</dc:creator>
  <cp:lastModifiedBy>Aleaa SALAH</cp:lastModifiedBy>
  <cp:revision>21</cp:revision>
  <dcterms:created xsi:type="dcterms:W3CDTF">2024-07-05T14:32:36Z</dcterms:created>
  <dcterms:modified xsi:type="dcterms:W3CDTF">2025-07-27T16:1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